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134806344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60" d="100"/>
          <a:sy n="60" d="100"/>
        </p:scale>
        <p:origin x="884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B7E3F-AC3C-4801-8CB2-D0AE342E26EC}" type="datetimeFigureOut">
              <a:rPr lang="en-GB" smtClean="0"/>
              <a:t>23/11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7715F9-D390-44E4-8AB9-6A0D64A2932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40971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7715F9-D390-44E4-8AB9-6A0D64A2932F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3711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4AA717-B24F-44F1-A55B-781C0EDD55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D6BDBB5-7465-4422-9937-45788AE21C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3E553E-72AA-4D6A-BF33-C7436A4AA4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EF615-D245-4732-B484-2D6BA4AA540A}" type="datetimeFigureOut">
              <a:rPr lang="en-GB" smtClean="0"/>
              <a:t>23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A6CFE7-F023-4C30-BBDF-19096CE2BD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010718-EBFF-4F66-8DDD-8EF75CB66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4498A-50EB-4679-B9A1-D255451FA2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5266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B1A733-EFBC-4933-97EA-CF4E480B4B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38C9037-C766-492F-83BE-63972F348E4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81118B-3A34-4FC2-B901-A174580BDC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EF615-D245-4732-B484-2D6BA4AA540A}" type="datetimeFigureOut">
              <a:rPr lang="en-GB" smtClean="0"/>
              <a:t>23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C3F079-BD11-4858-95BF-17CEF6ED6B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14EE8E-E9F5-4FC9-9BB9-E40CF44E63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4498A-50EB-4679-B9A1-D255451FA2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49258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ED38F61-83E4-48FA-959D-C65E28284F9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80A824-E67B-41FC-B436-5A99B31AAA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296828-C355-448A-912A-79FAE80C11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EF615-D245-4732-B484-2D6BA4AA540A}" type="datetimeFigureOut">
              <a:rPr lang="en-GB" smtClean="0"/>
              <a:t>23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7D6DAD-EDE8-4DCD-927F-894786EE1D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00E6C6-43DA-414A-9204-36C8DCA88B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4498A-50EB-4679-B9A1-D255451FA2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41755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>
            <a:spLocks noChangeArrowheads="1"/>
          </p:cNvSpPr>
          <p:nvPr userDrawn="1"/>
        </p:nvSpPr>
        <p:spPr bwMode="auto">
          <a:xfrm>
            <a:off x="296863" y="2460172"/>
            <a:ext cx="1392237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Profile</a:t>
            </a:r>
          </a:p>
        </p:txBody>
      </p:sp>
      <p:sp>
        <p:nvSpPr>
          <p:cNvPr id="13" name="TextBox 12"/>
          <p:cNvSpPr txBox="1">
            <a:spLocks noChangeArrowheads="1"/>
          </p:cNvSpPr>
          <p:nvPr userDrawn="1"/>
        </p:nvSpPr>
        <p:spPr bwMode="auto">
          <a:xfrm>
            <a:off x="4237355" y="2471285"/>
            <a:ext cx="445458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Professional Experience (Sample Programs)</a:t>
            </a:r>
          </a:p>
        </p:txBody>
      </p:sp>
      <p:sp>
        <p:nvSpPr>
          <p:cNvPr id="14" name="TextBox 13"/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Academic and Professional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5"/>
            <a:ext cx="4056394" cy="3621503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15339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68DF41-5EFA-405D-B509-BC4F828904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C39E6-1400-45E9-AF70-7E01F215104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935B6F-32F2-4A18-A6B9-F416A0C03F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EF615-D245-4732-B484-2D6BA4AA540A}" type="datetimeFigureOut">
              <a:rPr lang="en-GB" smtClean="0"/>
              <a:t>23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A0482-25B9-4F1D-8B33-AA1CDE023E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DF8026-D456-4AC7-A8D4-7EEB9F3546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4498A-50EB-4679-B9A1-D255451FA2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60198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2AA642-E6F7-49D3-86AC-E75BCDA1A1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40C7AE-31EC-4FFD-8E73-DF063DA57D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F4AEDA-ADFC-4F2B-A382-256A5871F6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EF615-D245-4732-B484-2D6BA4AA540A}" type="datetimeFigureOut">
              <a:rPr lang="en-GB" smtClean="0"/>
              <a:t>23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1B8E58-4622-41F6-A2A3-CC6FAB9697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8EAFCE-2764-4F94-88AE-6FD06210D7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4498A-50EB-4679-B9A1-D255451FA2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04967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1A2C88-7658-41DF-86FC-C5B65DCF59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0B350A-3880-4AEC-A51B-E74AF782E7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25DC53-69C9-40D5-9384-D876EC6BF0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4C0909-04E1-4304-BA73-406992959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EF615-D245-4732-B484-2D6BA4AA540A}" type="datetimeFigureOut">
              <a:rPr lang="en-GB" smtClean="0"/>
              <a:t>23/11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A8D250-DEFB-4BBF-A1FE-FF1C2C6538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2030E72-DF66-4981-AA59-A95D867395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4498A-50EB-4679-B9A1-D255451FA2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10951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319508-559A-430F-B82C-C2E08C12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4C7B8E-57BA-4A52-BD52-AA97481D2C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56D21D-6964-4B14-8C88-48CCE7B73B3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DBB0BD4-71DA-4AB5-9A38-E8A4B127A8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178C461-D264-4054-8F22-74BEC42C8CF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7B497BF-DE1B-4950-9983-197ED9375C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EF615-D245-4732-B484-2D6BA4AA540A}" type="datetimeFigureOut">
              <a:rPr lang="en-GB" smtClean="0"/>
              <a:t>23/11/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2DAA730-09B2-4CE4-A5A1-436CA3EFB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046C2FC-DA33-4919-A2C8-C54566624B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4498A-50EB-4679-B9A1-D255451FA2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26352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E9E84-B4A9-400C-BE98-7FFA085BB0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1CBF9F3-E44E-4A54-8A3B-920AB585E7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EF615-D245-4732-B484-2D6BA4AA540A}" type="datetimeFigureOut">
              <a:rPr lang="en-GB" smtClean="0"/>
              <a:t>23/11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301427-854E-4922-9430-60DDAD241E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D33A85-AE1F-4B8A-AEE7-D489EE5018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4498A-50EB-4679-B9A1-D255451FA2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14112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78E7106-1E85-4F99-8189-AB74028686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EF615-D245-4732-B484-2D6BA4AA540A}" type="datetimeFigureOut">
              <a:rPr lang="en-GB" smtClean="0"/>
              <a:t>23/11/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59104B-22BD-4647-8D93-C6BCE35B96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75FBE2-A35E-4E84-843A-679C2A8EFD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4498A-50EB-4679-B9A1-D255451FA2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08819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3DC605-B05C-48A7-857F-3BEFC62FF8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18616F-F1B5-44EB-925C-0D2E84C2AB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698E6E-F0A0-4BB3-B481-9D610D0ACA9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25402F7-73E5-4E24-8F3A-CDF3D87F83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EF615-D245-4732-B484-2D6BA4AA540A}" type="datetimeFigureOut">
              <a:rPr lang="en-GB" smtClean="0"/>
              <a:t>23/11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54A4BC-B3C7-4E9F-B6C4-4E0600C0EF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6C9ED62-0D9F-4A82-B372-50E255742A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4498A-50EB-4679-B9A1-D255451FA2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45885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A038DE-9EF5-4E1E-9AAF-E41D78118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BDC54A1-025B-4FA2-9BE7-151E1D5F49E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424A2D-D9D2-403A-A8FC-4C19168F77F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72EF0EC-43E4-4ABB-865E-94DA2C16A4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EF615-D245-4732-B484-2D6BA4AA540A}" type="datetimeFigureOut">
              <a:rPr lang="en-GB" smtClean="0"/>
              <a:t>23/11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AF3FB5-9D8E-4128-9502-29AC1A870E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0C92D7-5BC3-4170-AE45-44BF33BB6E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4498A-50EB-4679-B9A1-D255451FA2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5311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E1159C9-1279-4BE6-9924-918829DCAD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5ADBDD-2310-4E68-9749-CEE32CD904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D63135-CC60-423F-9F31-3A5C587511E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AEF615-D245-4732-B484-2D6BA4AA540A}" type="datetimeFigureOut">
              <a:rPr lang="en-GB" smtClean="0"/>
              <a:t>23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BC5D1B-618F-403D-8B7E-7DE2C80BF9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5181D5-1C3D-4641-BAE5-5E3B15E9BD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64498A-50EB-4679-B9A1-D255451FA2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3881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>
            <a:extLst>
              <a:ext uri="{FF2B5EF4-FFF2-40B4-BE49-F238E27FC236}">
                <a16:creationId xmlns:a16="http://schemas.microsoft.com/office/drawing/2014/main" id="{1ACC1440-ED57-4F74-8CF1-FACF4DD6EFC0}"/>
              </a:ext>
            </a:extLst>
          </p:cNvPr>
          <p:cNvSpPr/>
          <p:nvPr/>
        </p:nvSpPr>
        <p:spPr>
          <a:xfrm>
            <a:off x="1075122" y="239308"/>
            <a:ext cx="1268132" cy="1228725"/>
          </a:xfrm>
          <a:prstGeom prst="ellips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400" dirty="0"/>
              <a:t>Insert Profile photo</a:t>
            </a: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Placeholder 17"/>
          <p:cNvSpPr>
            <a:spLocks noGrp="1"/>
          </p:cNvSpPr>
          <p:nvPr>
            <p:ph type="body" sz="quarter" idx="4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dirty="0">
                <a:latin typeface="Arial Nova" panose="020B0504020202020204" pitchFamily="34" charset="0"/>
              </a:rPr>
              <a:t>Vaishali Barve– Senior Consultant 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42"/>
          </p:nvPr>
        </p:nvSpPr>
        <p:spPr>
          <a:xfrm>
            <a:off x="2468282" y="681038"/>
            <a:ext cx="6056596" cy="330252"/>
          </a:xfrm>
        </p:spPr>
        <p:txBody>
          <a:bodyPr/>
          <a:lstStyle/>
          <a:p>
            <a:pPr fontAlgn="base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en-US" dirty="0">
                <a:latin typeface="Arial Nova" panose="020B0504020202020204" pitchFamily="34" charset="0"/>
              </a:rPr>
              <a:t>Banking and Financial Services Domain</a:t>
            </a:r>
          </a:p>
        </p:txBody>
      </p:sp>
      <p:sp>
        <p:nvSpPr>
          <p:cNvPr id="51" name="TextBox 20"/>
          <p:cNvSpPr txBox="1">
            <a:spLocks noChangeArrowheads="1"/>
          </p:cNvSpPr>
          <p:nvPr/>
        </p:nvSpPr>
        <p:spPr bwMode="auto">
          <a:xfrm>
            <a:off x="9362036" y="597381"/>
            <a:ext cx="2682025" cy="1735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>
                <a:srgbClr val="0070AD"/>
              </a:buClr>
              <a:buSzPct val="120000"/>
              <a:buFontTx/>
              <a:buNone/>
              <a:tabLst>
                <a:tab pos="809625" algn="l"/>
              </a:tabLst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ova" panose="020B0504020202020204" pitchFamily="34" charset="0"/>
              <a:ea typeface="+mn-ea"/>
              <a:cs typeface="+mn-cs"/>
            </a:endParaRPr>
          </a:p>
          <a:p>
            <a:pPr marL="171450" indent="-171450"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>
                <a:srgbClr val="0070AD"/>
              </a:buClr>
              <a:buSzPct val="120000"/>
              <a:buFont typeface="Arial" panose="020B0604020202020204" pitchFamily="34" charset="0"/>
              <a:buChar char="•"/>
              <a:tabLst>
                <a:tab pos="809625" algn="l"/>
              </a:tabLst>
              <a:defRPr/>
            </a:pPr>
            <a:r>
              <a:rPr lang="en-US" sz="1050" dirty="0"/>
              <a:t>B.E Computer Science</a:t>
            </a:r>
          </a:p>
          <a:p>
            <a:pPr marL="171450" indent="-171450"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>
                <a:srgbClr val="0070AD"/>
              </a:buClr>
              <a:buSzPct val="120000"/>
              <a:buFont typeface="Arial" panose="020B0604020202020204" pitchFamily="34" charset="0"/>
              <a:buChar char="•"/>
              <a:tabLst>
                <a:tab pos="809625" algn="l"/>
              </a:tabLst>
              <a:defRPr/>
            </a:pPr>
            <a:r>
              <a:rPr lang="en-US" sz="1050" dirty="0"/>
              <a:t>7 years experience in TCS</a:t>
            </a:r>
          </a:p>
          <a:p>
            <a:pPr marL="171450" indent="-171450"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>
                <a:srgbClr val="0070AD"/>
              </a:buClr>
              <a:buSzPct val="120000"/>
              <a:buFont typeface="Arial" panose="020B0604020202020204" pitchFamily="34" charset="0"/>
              <a:buChar char="•"/>
              <a:tabLst>
                <a:tab pos="809625" algn="l"/>
              </a:tabLst>
              <a:defRPr/>
            </a:pPr>
            <a:r>
              <a:rPr lang="en-US" sz="1050" dirty="0"/>
              <a:t>ISTQB Certified</a:t>
            </a:r>
          </a:p>
          <a:p>
            <a:pPr marL="171450" indent="-171450"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>
                <a:srgbClr val="0070AD"/>
              </a:buClr>
              <a:buSzPct val="120000"/>
              <a:buFont typeface="Arial" panose="020B0604020202020204" pitchFamily="34" charset="0"/>
              <a:buChar char="•"/>
              <a:tabLst>
                <a:tab pos="809625" algn="l"/>
              </a:tabLst>
              <a:defRPr/>
            </a:pPr>
            <a:r>
              <a:rPr lang="en-US" sz="1050" dirty="0"/>
              <a:t>AGILE Software Development Certified – Coursera</a:t>
            </a:r>
          </a:p>
          <a:p>
            <a:pPr marL="171450" indent="-171450"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>
                <a:srgbClr val="0070AD"/>
              </a:buClr>
              <a:buSzPct val="120000"/>
              <a:buFont typeface="Arial" panose="020B0604020202020204" pitchFamily="34" charset="0"/>
              <a:buChar char="•"/>
              <a:tabLst>
                <a:tab pos="809625" algn="l"/>
              </a:tabLst>
              <a:defRPr/>
            </a:pPr>
            <a:r>
              <a:rPr lang="en-US" sz="1050" dirty="0"/>
              <a:t>AWS Technical Essential Certifies - Coursera</a:t>
            </a:r>
          </a:p>
          <a:p>
            <a:pPr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>
                <a:srgbClr val="0070AD"/>
              </a:buClr>
              <a:buSzPct val="120000"/>
              <a:tabLst>
                <a:tab pos="809625" algn="l"/>
              </a:tabLst>
              <a:defRPr/>
            </a:pPr>
            <a:endParaRPr lang="en-US" sz="1050" dirty="0"/>
          </a:p>
          <a:p>
            <a:pPr marL="171450" indent="-171450"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>
                <a:srgbClr val="0070AD"/>
              </a:buClr>
              <a:buSzPct val="120000"/>
              <a:buFont typeface="Arial" panose="020B0604020202020204" pitchFamily="34" charset="0"/>
              <a:buChar char="•"/>
              <a:tabLst>
                <a:tab pos="809625" algn="l"/>
              </a:tabLst>
              <a:defRPr/>
            </a:pPr>
            <a:endParaRPr lang="en-US" sz="1050" dirty="0"/>
          </a:p>
          <a:p>
            <a:pPr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>
                <a:srgbClr val="0070AD"/>
              </a:buClr>
              <a:buSzPct val="120000"/>
              <a:tabLst>
                <a:tab pos="809625" algn="l"/>
              </a:tabLst>
              <a:defRPr/>
            </a:pPr>
            <a:r>
              <a:rPr lang="en-US" sz="1050" b="1" dirty="0">
                <a:solidFill>
                  <a:schemeClr val="accent1"/>
                </a:solidFill>
              </a:rPr>
              <a:t>Professional Achievements and Awards</a:t>
            </a:r>
          </a:p>
          <a:p>
            <a:pPr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>
                <a:srgbClr val="0070AD"/>
              </a:buClr>
              <a:buSzPct val="120000"/>
              <a:tabLst>
                <a:tab pos="809625" algn="l"/>
              </a:tabLst>
              <a:defRPr/>
            </a:pPr>
            <a:endParaRPr lang="en-US" sz="1050" b="1" dirty="0">
              <a:solidFill>
                <a:schemeClr val="accent1"/>
              </a:solidFill>
            </a:endParaRPr>
          </a:p>
          <a:p>
            <a:pPr marL="171450" lvl="0" indent="-171450"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>
                <a:srgbClr val="0070AD"/>
              </a:buClr>
              <a:buSzPct val="120000"/>
              <a:buFont typeface="Arial" panose="020B0604020202020204" pitchFamily="34" charset="0"/>
              <a:buChar char="•"/>
              <a:tabLst>
                <a:tab pos="809625" algn="l"/>
              </a:tabLst>
              <a:defRPr/>
            </a:pPr>
            <a:r>
              <a:rPr lang="en-IN" sz="1050" dirty="0"/>
              <a:t>Received appreciation for entire Team, from Global Head Core Tech Practice to successfully deliver DB migration project.</a:t>
            </a:r>
          </a:p>
          <a:p>
            <a:pPr marL="171450" lvl="0" indent="-171450"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>
                <a:srgbClr val="0070AD"/>
              </a:buClr>
              <a:buSzPct val="120000"/>
              <a:buFont typeface="Arial" panose="020B0604020202020204" pitchFamily="34" charset="0"/>
              <a:buChar char="•"/>
              <a:tabLst>
                <a:tab pos="809625" algn="l"/>
              </a:tabLst>
              <a:defRPr/>
            </a:pPr>
            <a:r>
              <a:rPr lang="en-IN" sz="1050" dirty="0"/>
              <a:t>Received client appreciation also for the same.</a:t>
            </a:r>
          </a:p>
          <a:p>
            <a:pPr marL="171450" lvl="0" indent="-171450"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>
                <a:srgbClr val="0070AD"/>
              </a:buClr>
              <a:buSzPct val="120000"/>
              <a:buFont typeface="Arial" panose="020B0604020202020204" pitchFamily="34" charset="0"/>
              <a:buChar char="•"/>
              <a:tabLst>
                <a:tab pos="809625" algn="l"/>
              </a:tabLst>
              <a:defRPr/>
            </a:pPr>
            <a:r>
              <a:rPr lang="en-IN" sz="1050" dirty="0"/>
              <a:t>Received client appreciation for publishing a paper on Image Processing Application(</a:t>
            </a:r>
            <a:r>
              <a:rPr lang="en-US" sz="1050" dirty="0"/>
              <a:t>(processing of cheques, cash letters etc.) full flow for MUFG to team members.)</a:t>
            </a:r>
            <a:endParaRPr lang="en-IN" sz="1050" dirty="0"/>
          </a:p>
          <a:p>
            <a:pPr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>
                <a:srgbClr val="0070AD"/>
              </a:buClr>
              <a:buSzPct val="120000"/>
              <a:tabLst>
                <a:tab pos="809625" algn="l"/>
              </a:tabLst>
              <a:defRPr/>
            </a:pPr>
            <a:endParaRPr lang="en-US" sz="1050" b="1" dirty="0">
              <a:solidFill>
                <a:schemeClr val="accent1"/>
              </a:solidFill>
            </a:endParaRPr>
          </a:p>
          <a:p>
            <a:pPr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>
                <a:srgbClr val="0070AD"/>
              </a:buClr>
              <a:buSzPct val="120000"/>
              <a:tabLst>
                <a:tab pos="809625" algn="l"/>
              </a:tabLst>
              <a:defRPr/>
            </a:pPr>
            <a:endParaRPr lang="en-US" sz="1050" b="1" dirty="0">
              <a:solidFill>
                <a:schemeClr val="accent1"/>
              </a:solidFill>
            </a:endParaRPr>
          </a:p>
          <a:p>
            <a:pPr marL="0" marR="0" lvl="0" indent="0" algn="l" defTabSz="914400" rtl="0" eaLnBrk="1" fontAlgn="base" latinLnBrk="0" hangingPunct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>
                <a:srgbClr val="0070AD"/>
              </a:buClr>
              <a:buSzPct val="120000"/>
              <a:buFontTx/>
              <a:buNone/>
              <a:tabLst>
                <a:tab pos="809625" algn="l"/>
              </a:tabLst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ova" panose="020B05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>
                <a:srgbClr val="0070AD"/>
              </a:buClr>
              <a:buSzPct val="120000"/>
              <a:buFontTx/>
              <a:buNone/>
              <a:tabLst>
                <a:tab pos="809625" algn="l"/>
              </a:tabLst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ova" panose="020B0504020202020204" pitchFamily="34" charset="0"/>
              <a:ea typeface="+mn-ea"/>
              <a:cs typeface="+mn-cs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31E1B9D-872C-4638-A0FE-BEEF8ADB768B}"/>
              </a:ext>
            </a:extLst>
          </p:cNvPr>
          <p:cNvCxnSpPr>
            <a:cxnSpLocks/>
          </p:cNvCxnSpPr>
          <p:nvPr/>
        </p:nvCxnSpPr>
        <p:spPr>
          <a:xfrm>
            <a:off x="2606951" y="2904475"/>
            <a:ext cx="0" cy="387224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F5E88AEA-A72F-4EA3-9C98-7EE658455E9E}"/>
              </a:ext>
            </a:extLst>
          </p:cNvPr>
          <p:cNvSpPr/>
          <p:nvPr/>
        </p:nvSpPr>
        <p:spPr>
          <a:xfrm>
            <a:off x="240604" y="2669761"/>
            <a:ext cx="2271772" cy="49346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5" marR="0" lvl="0" indent="0" algn="l" defTabSz="957756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2B143D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Calibri" pitchFamily="34" charset="0"/>
              </a:rPr>
              <a:t>Personal Statement: </a:t>
            </a:r>
          </a:p>
          <a:p>
            <a:r>
              <a:rPr lang="en-IN" sz="1100" dirty="0">
                <a:solidFill>
                  <a:srgbClr val="374151"/>
                </a:solidFill>
                <a:latin typeface="Söhne"/>
              </a:rPr>
              <a:t>A</a:t>
            </a:r>
            <a:r>
              <a:rPr lang="en-IN" sz="1100" b="0" i="0" dirty="0">
                <a:solidFill>
                  <a:srgbClr val="374151"/>
                </a:solidFill>
                <a:effectLst/>
                <a:latin typeface="Söhne"/>
              </a:rPr>
              <a:t> highly skilled professional with over 10.8 years of experience in IT. My expertise lies in PL/SQL, Unix, production support, QA Testing, and personnel management. I excel in communication, creativity, and strategic thinking</a:t>
            </a:r>
            <a:r>
              <a:rPr lang="en-IN" sz="1100" dirty="0">
                <a:solidFill>
                  <a:srgbClr val="374151"/>
                </a:solidFill>
                <a:latin typeface="Söhne"/>
              </a:rPr>
              <a:t>.</a:t>
            </a:r>
            <a:r>
              <a:rPr lang="en-IN" sz="1100" b="0" i="0" dirty="0">
                <a:solidFill>
                  <a:srgbClr val="374151"/>
                </a:solidFill>
                <a:effectLst/>
                <a:latin typeface="Söhne"/>
              </a:rPr>
              <a:t> I hold a B.E. degree and have contributed to leading organizations like TCS and Capgemini. </a:t>
            </a:r>
          </a:p>
          <a:p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2B143D"/>
              </a:solidFill>
              <a:effectLst/>
              <a:uLnTx/>
              <a:uFillTx/>
              <a:latin typeface="Arial Nova" panose="020B0504020202020204" pitchFamily="34" charset="0"/>
              <a:ea typeface="+mn-ea"/>
              <a:cs typeface="Calibri" pitchFamily="34" charset="0"/>
            </a:endParaRPr>
          </a:p>
          <a:p>
            <a:pPr marL="188913" marR="0" lvl="1" indent="-188913" algn="l" defTabSz="957756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B69676"/>
              </a:buClr>
              <a:buSzPct val="120000"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2B143D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Calibri" pitchFamily="34" charset="0"/>
              </a:rPr>
              <a:t>Expertise and Competencies: </a:t>
            </a:r>
          </a:p>
          <a:p>
            <a:pPr marL="9525" lvl="1" indent="-188913" defTabSz="957756">
              <a:spcBef>
                <a:spcPts val="200"/>
              </a:spcBef>
              <a:spcAft>
                <a:spcPts val="200"/>
              </a:spcAft>
              <a:buClr>
                <a:srgbClr val="B69676"/>
              </a:buClr>
              <a:buSzPct val="120000"/>
              <a:defRPr/>
            </a:pPr>
            <a:r>
              <a:rPr lang="en-US" sz="1100" dirty="0"/>
              <a:t>Specific focused on roles as PLSQL Developer, Production Support and QA Manual Tester. </a:t>
            </a:r>
          </a:p>
          <a:p>
            <a:pPr marL="9525" lvl="1" indent="-188913" defTabSz="957756">
              <a:spcBef>
                <a:spcPts val="200"/>
              </a:spcBef>
              <a:spcAft>
                <a:spcPts val="200"/>
              </a:spcAft>
              <a:buClr>
                <a:srgbClr val="B69676"/>
              </a:buClr>
              <a:buSzPct val="120000"/>
              <a:defRPr/>
            </a:pPr>
            <a:r>
              <a:rPr lang="en-US" sz="1100" dirty="0"/>
              <a:t>Around 5 years of experience as team lead for a Production Support and DB Migration Project.</a:t>
            </a:r>
          </a:p>
          <a:p>
            <a:pPr marL="9525" lvl="1" indent="-188913" defTabSz="957756">
              <a:spcBef>
                <a:spcPts val="200"/>
              </a:spcBef>
              <a:spcAft>
                <a:spcPts val="200"/>
              </a:spcAft>
              <a:buClr>
                <a:srgbClr val="B69676"/>
              </a:buClr>
              <a:buSzPct val="120000"/>
              <a:defRPr/>
            </a:pPr>
            <a:endParaRPr lang="en-US" sz="1100" dirty="0"/>
          </a:p>
          <a:p>
            <a:pPr marL="9525" lvl="1" indent="-188913" defTabSz="957756">
              <a:spcBef>
                <a:spcPts val="200"/>
              </a:spcBef>
              <a:spcAft>
                <a:spcPts val="200"/>
              </a:spcAft>
              <a:buClr>
                <a:srgbClr val="B69676"/>
              </a:buClr>
              <a:buSzPct val="120000"/>
              <a:defRPr/>
            </a:pPr>
            <a:endParaRPr lang="en-US" sz="1100" dirty="0"/>
          </a:p>
          <a:p>
            <a:pPr marL="9525" lvl="1" indent="-188913" defTabSz="957756">
              <a:spcBef>
                <a:spcPts val="200"/>
              </a:spcBef>
              <a:spcAft>
                <a:spcPts val="200"/>
              </a:spcAft>
              <a:buClr>
                <a:srgbClr val="B69676"/>
              </a:buClr>
              <a:buSzPct val="120000"/>
              <a:defRPr/>
            </a:pPr>
            <a:endParaRPr lang="en-US" sz="1100" dirty="0"/>
          </a:p>
          <a:p>
            <a:pPr marL="9525" lvl="1" indent="-188913" defTabSz="957756">
              <a:spcBef>
                <a:spcPts val="200"/>
              </a:spcBef>
              <a:spcAft>
                <a:spcPts val="200"/>
              </a:spcAft>
              <a:buClr>
                <a:srgbClr val="B69676"/>
              </a:buClr>
              <a:buSzPct val="120000"/>
              <a:defRPr/>
            </a:pPr>
            <a:endParaRPr lang="en-US" sz="1100" dirty="0"/>
          </a:p>
          <a:p>
            <a:pPr marL="9525" lvl="1" indent="-188913" defTabSz="957756">
              <a:spcBef>
                <a:spcPts val="200"/>
              </a:spcBef>
              <a:spcAft>
                <a:spcPts val="200"/>
              </a:spcAft>
              <a:buClr>
                <a:srgbClr val="B69676"/>
              </a:buClr>
              <a:buSzPct val="120000"/>
              <a:defRPr/>
            </a:pPr>
            <a:endParaRPr lang="en-US" sz="900" dirty="0"/>
          </a:p>
          <a:p>
            <a:pPr marL="188913" marR="0" lvl="1" indent="-188913" algn="l" defTabSz="957756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B69676"/>
              </a:buClr>
              <a:buSzPct val="120000"/>
              <a:buFontTx/>
              <a:buNone/>
              <a:tabLst/>
              <a:defRPr/>
            </a:pPr>
            <a:endParaRPr kumimoji="0" lang="en-GB" sz="900" b="1" i="1" u="none" strike="noStrike" kern="1200" cap="none" spc="0" normalizeH="0" baseline="0" noProof="0" dirty="0">
              <a:ln>
                <a:noFill/>
              </a:ln>
              <a:solidFill>
                <a:srgbClr val="2B143D"/>
              </a:solidFill>
              <a:effectLst/>
              <a:uLnTx/>
              <a:uFillTx/>
              <a:latin typeface="Arial Nova" panose="020B0504020202020204" pitchFamily="34" charset="0"/>
              <a:ea typeface="+mn-ea"/>
              <a:cs typeface="Calibri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GB" sz="900" dirty="0">
              <a:solidFill>
                <a:prstClr val="black"/>
              </a:solidFill>
              <a:latin typeface="Arial Nova" panose="020B0504020202020204" pitchFamily="34" charset="0"/>
              <a:cs typeface="Calibri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sz="900" dirty="0">
                <a:solidFill>
                  <a:prstClr val="black"/>
                </a:solidFill>
                <a:latin typeface="Arial Nova" panose="020B0504020202020204" pitchFamily="34" charset="0"/>
                <a:cs typeface="Calibri" pitchFamily="34" charset="0"/>
              </a:rPr>
              <a:t>	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ova" panose="020B0504020202020204" pitchFamily="34" charset="0"/>
              <a:ea typeface="+mn-ea"/>
              <a:cs typeface="Calibri" pitchFamily="34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5448137-3603-3EE9-C18E-39A520F374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7801830"/>
              </p:ext>
            </p:extLst>
          </p:nvPr>
        </p:nvGraphicFramePr>
        <p:xfrm>
          <a:off x="2800362" y="2765671"/>
          <a:ext cx="6348392" cy="393460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05955">
                  <a:extLst>
                    <a:ext uri="{9D8B030D-6E8A-4147-A177-3AD203B41FA5}">
                      <a16:colId xmlns:a16="http://schemas.microsoft.com/office/drawing/2014/main" val="1858853341"/>
                    </a:ext>
                  </a:extLst>
                </a:gridCol>
                <a:gridCol w="5042437">
                  <a:extLst>
                    <a:ext uri="{9D8B030D-6E8A-4147-A177-3AD203B41FA5}">
                      <a16:colId xmlns:a16="http://schemas.microsoft.com/office/drawing/2014/main" val="488330359"/>
                    </a:ext>
                  </a:extLst>
                </a:gridCol>
              </a:tblGrid>
              <a:tr h="158673">
                <a:tc>
                  <a:txBody>
                    <a:bodyPr/>
                    <a:lstStyle/>
                    <a:p>
                      <a:r>
                        <a:rPr lang="en-US" sz="1100" dirty="0">
                          <a:effectLst/>
                        </a:rPr>
                        <a:t>Type of Industry: </a:t>
                      </a:r>
                      <a:endParaRPr lang="en-IN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effectLst/>
                        </a:rPr>
                        <a:t>             IT Industry</a:t>
                      </a:r>
                      <a:endParaRPr lang="en-IN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3975073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Clients</a:t>
                      </a:r>
                      <a:endParaRPr lang="en-IN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300"/>
                        </a:lnSpc>
                        <a:spcBef>
                          <a:spcPts val="500"/>
                        </a:spcBef>
                        <a:spcAft>
                          <a:spcPts val="600"/>
                        </a:spcAft>
                        <a:tabLst>
                          <a:tab pos="2743200" algn="ctr"/>
                          <a:tab pos="5486400" algn="r"/>
                          <a:tab pos="1680210" algn="r"/>
                          <a:tab pos="5829300" algn="r"/>
                        </a:tabLst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tionale Netherlands, Morgan Stanley, MUFG, Credit Suisse</a:t>
                      </a:r>
                      <a:endParaRPr lang="en-IN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46807384"/>
                  </a:ext>
                </a:extLst>
              </a:tr>
              <a:tr h="158673">
                <a:tc>
                  <a:txBody>
                    <a:bodyPr/>
                    <a:lstStyle/>
                    <a:p>
                      <a:r>
                        <a:rPr lang="en-US" sz="1100" dirty="0">
                          <a:effectLst/>
                        </a:rPr>
                        <a:t>Role/Title:</a:t>
                      </a:r>
                      <a:endParaRPr lang="en-IN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Bef>
                          <a:spcPts val="500"/>
                        </a:spcBef>
                        <a:spcAft>
                          <a:spcPts val="600"/>
                        </a:spcAft>
                        <a:tabLst>
                          <a:tab pos="2743200" algn="ctr"/>
                          <a:tab pos="5486400" algn="r"/>
                          <a:tab pos="1680210" algn="r"/>
                          <a:tab pos="5829300" algn="r"/>
                        </a:tabLst>
                      </a:pPr>
                      <a:r>
                        <a:rPr lang="en-US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Offshore Team Lead, QA Tester</a:t>
                      </a:r>
                      <a:endParaRPr lang="en-IN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58615076"/>
                  </a:ext>
                </a:extLst>
              </a:tr>
              <a:tr h="276874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effectLst/>
                        </a:rPr>
                        <a:t>Responsibilities:</a:t>
                      </a:r>
                      <a:endParaRPr lang="en-IN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endParaRPr lang="en-IN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171450" lvl="1" indent="-171450" algn="l" defTabSz="914400" rtl="0" eaLnBrk="1" latinLnBrk="0" hangingPunct="1">
                        <a:lnSpc>
                          <a:spcPts val="1300"/>
                        </a:lnSpc>
                        <a:spcBef>
                          <a:spcPts val="5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  <a:tabLst>
                          <a:tab pos="2743200" algn="ctr"/>
                          <a:tab pos="5486400" algn="r"/>
                          <a:tab pos="1680210" algn="r"/>
                          <a:tab pos="5829300" algn="r"/>
                        </a:tabLst>
                      </a:pPr>
                      <a:r>
                        <a:rPr lang="en-IN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tionale Netherlands - Led offshore team operations (10+ members), enhancing efficiency through workflow streamlining and best practice implementation. Received client appreciation for creating and presenting a comprehensive security document, contributing significantly to the success of a database migration project—ensured accurate data migration, system stability, and collaborated cross-functionally for issue resolution.</a:t>
                      </a:r>
                      <a:endParaRPr lang="en-US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lvl="1" indent="-171450" algn="l" defTabSz="914400" rtl="0" eaLnBrk="1" latinLnBrk="0" hangingPunct="1">
                        <a:lnSpc>
                          <a:spcPts val="1300"/>
                        </a:lnSpc>
                        <a:spcBef>
                          <a:spcPts val="5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  <a:tabLst>
                          <a:tab pos="2743200" algn="ctr"/>
                          <a:tab pos="5486400" algn="r"/>
                          <a:tab pos="1680210" algn="r"/>
                          <a:tab pos="5829300" algn="r"/>
                        </a:tabLst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rgan Stanley - </a:t>
                      </a:r>
                      <a:br>
                        <a:rPr lang="en-IN" sz="1100" dirty="0"/>
                      </a:br>
                      <a:r>
                        <a:rPr lang="en-IN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d testing for EV Portal, evaluating trader/salesperson impact, creating detailed documentation, and executing tests to ensure FX trading platform compliance. Efficiently tracked defects, fostering clear communication with the development team for project success.</a:t>
                      </a:r>
                    </a:p>
                    <a:p>
                      <a:pPr marL="171450" lvl="1" indent="-171450" algn="l" defTabSz="914400" rtl="0" eaLnBrk="1" latinLnBrk="0" hangingPunct="1">
                        <a:lnSpc>
                          <a:spcPts val="1300"/>
                        </a:lnSpc>
                        <a:spcBef>
                          <a:spcPts val="5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  <a:tabLst>
                          <a:tab pos="2743200" algn="ctr"/>
                          <a:tab pos="5486400" algn="r"/>
                          <a:tab pos="1680210" algn="r"/>
                          <a:tab pos="5829300" algn="r"/>
                        </a:tabLst>
                      </a:pPr>
                      <a:r>
                        <a:rPr lang="en-IN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UFG - Led 24x7 production support for 300+ applications, ensuring minimal downtime, managing critical incidents, and implementing proactive solutions for system stability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104741878"/>
                  </a:ext>
                </a:extLst>
              </a:tr>
              <a:tr h="156269"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Bef>
                          <a:spcPts val="500"/>
                        </a:spcBef>
                        <a:spcAft>
                          <a:spcPts val="600"/>
                        </a:spcAft>
                        <a:tabLst>
                          <a:tab pos="2743200" algn="ctr"/>
                          <a:tab pos="5486400" algn="r"/>
                          <a:tab pos="1680210" algn="r"/>
                          <a:tab pos="5829300" algn="r"/>
                        </a:tabLst>
                      </a:pPr>
                      <a:r>
                        <a:rPr lang="en-IN" sz="11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ools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lvl="1" indent="0" algn="l" defTabSz="914400" rtl="0" eaLnBrk="1" latinLnBrk="0" hangingPunct="1">
                        <a:lnSpc>
                          <a:spcPts val="1300"/>
                        </a:lnSpc>
                        <a:spcBef>
                          <a:spcPts val="500"/>
                        </a:spcBef>
                        <a:spcAft>
                          <a:spcPts val="600"/>
                        </a:spcAft>
                        <a:buFont typeface="Courier New" panose="02070309020205020404" pitchFamily="49" charset="0"/>
                        <a:buNone/>
                        <a:tabLst>
                          <a:tab pos="2743200" algn="ctr"/>
                          <a:tab pos="5486400" algn="r"/>
                          <a:tab pos="1680210" algn="r"/>
                          <a:tab pos="5829300" algn="r"/>
                        </a:tabLst>
                      </a:pPr>
                      <a:r>
                        <a:rPr lang="en-IN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tty, SQL Developer, ServiceNow, HPSM, HPQC, WinSCP, Beyond Compare, JIRA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482470423"/>
                  </a:ext>
                </a:extLst>
              </a:tr>
              <a:tr h="158673">
                <a:tc>
                  <a:txBody>
                    <a:bodyPr/>
                    <a:lstStyle/>
                    <a:p>
                      <a:r>
                        <a:rPr lang="en-US" sz="1100">
                          <a:effectLst/>
                        </a:rPr>
                        <a:t>Operating Systems:</a:t>
                      </a:r>
                      <a:endParaRPr lang="en-IN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Bef>
                          <a:spcPts val="500"/>
                        </a:spcBef>
                        <a:spcAft>
                          <a:spcPts val="600"/>
                        </a:spcAft>
                        <a:tabLst>
                          <a:tab pos="2743200" algn="ctr"/>
                          <a:tab pos="5486400" algn="r"/>
                          <a:tab pos="1680210" algn="r"/>
                          <a:tab pos="5829300" algn="r"/>
                        </a:tabLst>
                      </a:pPr>
                      <a:r>
                        <a:rPr lang="en-US" sz="1100" dirty="0">
                          <a:effectLst/>
                        </a:rPr>
                        <a:t>Windows, Unix</a:t>
                      </a:r>
                      <a:endParaRPr lang="en-IN" sz="1100" dirty="0">
                        <a:effectLst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31123299"/>
                  </a:ext>
                </a:extLst>
              </a:tr>
              <a:tr h="312538"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Bef>
                          <a:spcPts val="500"/>
                        </a:spcBef>
                        <a:spcAft>
                          <a:spcPts val="600"/>
                        </a:spcAft>
                        <a:tabLst>
                          <a:tab pos="2743200" algn="ctr"/>
                          <a:tab pos="5486400" algn="r"/>
                          <a:tab pos="1680210" algn="r"/>
                          <a:tab pos="5829300" algn="r"/>
                        </a:tabLst>
                      </a:pPr>
                      <a:r>
                        <a:rPr lang="en-US" sz="1100">
                          <a:effectLst/>
                        </a:rPr>
                        <a:t>Software /   Languages:   </a:t>
                      </a:r>
                      <a:endParaRPr lang="en-IN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Bef>
                          <a:spcPts val="500"/>
                        </a:spcBef>
                        <a:spcAft>
                          <a:spcPts val="600"/>
                        </a:spcAft>
                        <a:tabLst>
                          <a:tab pos="2743200" algn="ctr"/>
                          <a:tab pos="5486400" algn="r"/>
                          <a:tab pos="1680210" algn="r"/>
                          <a:tab pos="5829300" algn="r"/>
                        </a:tabLst>
                      </a:pPr>
                      <a:r>
                        <a:rPr lang="en-US" sz="1100" dirty="0">
                          <a:effectLst/>
                        </a:rPr>
                        <a:t>Unix, PLSQL, C++</a:t>
                      </a:r>
                      <a:endParaRPr lang="en-IN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367561485"/>
                  </a:ext>
                </a:extLst>
              </a:tr>
            </a:tbl>
          </a:graphicData>
        </a:graphic>
      </p:graphicFrame>
      <p:pic>
        <p:nvPicPr>
          <p:cNvPr id="6" name="Picture Placeholder 10" descr="A person taking a selfie&#10;&#10;Description automatically generated">
            <a:extLst>
              <a:ext uri="{FF2B5EF4-FFF2-40B4-BE49-F238E27FC236}">
                <a16:creationId xmlns:a16="http://schemas.microsoft.com/office/drawing/2014/main" id="{8BFE172C-D2B9-66A7-849A-A3C7FB8799DD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73" b="16573"/>
          <a:stretch>
            <a:fillRect/>
          </a:stretch>
        </p:blipFill>
        <p:spPr>
          <a:xfrm>
            <a:off x="641120" y="104898"/>
            <a:ext cx="1775544" cy="1735628"/>
          </a:xfrm>
        </p:spPr>
      </p:pic>
    </p:spTree>
    <p:extLst>
      <p:ext uri="{BB962C8B-B14F-4D97-AF65-F5344CB8AC3E}">
        <p14:creationId xmlns:p14="http://schemas.microsoft.com/office/powerpoint/2010/main" val="10788512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32</TotalTime>
  <Words>397</Words>
  <Application>Microsoft Office PowerPoint</Application>
  <PresentationFormat>Widescreen</PresentationFormat>
  <Paragraphs>4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rial</vt:lpstr>
      <vt:lpstr>Arial Nova</vt:lpstr>
      <vt:lpstr>Calibri</vt:lpstr>
      <vt:lpstr>Calibri Light</vt:lpstr>
      <vt:lpstr>Courier New</vt:lpstr>
      <vt:lpstr>Söhne</vt:lpstr>
      <vt:lpstr>Times New Roman</vt:lpstr>
      <vt:lpstr>Verdana</vt:lpstr>
      <vt:lpstr>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nkar, Siddharth</dc:creator>
  <cp:lastModifiedBy>Shukla, Anuja</cp:lastModifiedBy>
  <cp:revision>57</cp:revision>
  <dcterms:created xsi:type="dcterms:W3CDTF">2021-11-17T11:03:57Z</dcterms:created>
  <dcterms:modified xsi:type="dcterms:W3CDTF">2023-11-23T06:54:04Z</dcterms:modified>
</cp:coreProperties>
</file>